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57" r:id="rId3"/>
    <p:sldId id="262" r:id="rId4"/>
    <p:sldId id="263" r:id="rId5"/>
    <p:sldId id="264" r:id="rId6"/>
    <p:sldId id="265" r:id="rId7"/>
    <p:sldId id="266" r:id="rId8"/>
    <p:sldId id="267" r:id="rId9"/>
    <p:sldId id="261" r:id="rId10"/>
  </p:sldIdLst>
  <p:sldSz cx="9144000" cy="6858000" type="screen4x3"/>
  <p:notesSz cx="6858000" cy="9144000"/>
  <p:custDataLst>
    <p:tags r:id="rId13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DEE9"/>
    <a:srgbClr val="F6F3F7"/>
    <a:srgbClr val="EFEBF1"/>
    <a:srgbClr val="FBFAFC"/>
    <a:srgbClr val="FDCB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5" autoAdjust="0"/>
    <p:restoredTop sz="94660"/>
  </p:normalViewPr>
  <p:slideViewPr>
    <p:cSldViewPr>
      <p:cViewPr varScale="1">
        <p:scale>
          <a:sx n="73" d="100"/>
          <a:sy n="73" d="100"/>
        </p:scale>
        <p:origin x="522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3" d="100"/>
          <a:sy n="73" d="100"/>
        </p:scale>
        <p:origin x="-197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CF657-303A-4398-9044-CFD7A171425B}" type="datetime1">
              <a:rPr lang="ko-KR" altLang="en-US" smtClean="0"/>
              <a:t>2020-02-11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6E9DCB-E521-4A6F-90B6-8C184F4C7D3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39967091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AA5A20-C467-4706-BF78-625E0F415495}" type="datetime1">
              <a:rPr lang="ko-KR" altLang="en-US" smtClean="0"/>
              <a:t>2020-02-1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EB9FCD-2EB1-4FEF-94A5-69B3637AF5D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084923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EB9FCD-2EB1-4FEF-94A5-69B3637AF5D7}" type="slidenum">
              <a:rPr lang="ko-KR" altLang="en-US" smtClean="0"/>
              <a:t>1</a:t>
            </a:fld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98ADC20-A57C-4802-AF58-845F5831840D}" type="datetime1">
              <a:rPr lang="ko-KR" altLang="en-US" smtClean="0"/>
              <a:t>2020-02-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81956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14139-1793-4C1C-B7EE-C435FC3FA4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98188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20-02-11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14139-1793-4C1C-B7EE-C435FC3FA4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8532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20-02-11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14139-1793-4C1C-B7EE-C435FC3FA4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2823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20-02-11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14139-1793-4C1C-B7EE-C435FC3FA4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2469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20-02-11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14139-1793-4C1C-B7EE-C435FC3FA4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54012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20-02-11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14139-1793-4C1C-B7EE-C435FC3FA4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67545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20-02-11</a:t>
            </a:r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14139-1793-4C1C-B7EE-C435FC3FA4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751818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20-02-11</a:t>
            </a:r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14139-1793-4C1C-B7EE-C435FC3FA4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88814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20-02-11</a:t>
            </a:r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14139-1793-4C1C-B7EE-C435FC3FA4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06847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20-02-11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14139-1793-4C1C-B7EE-C435FC3FA4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690850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ko-KR" smtClean="0"/>
              <a:t>2020-02-11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14139-1793-4C1C-B7EE-C435FC3FA4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91045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altLang="ko-KR" smtClean="0"/>
              <a:t>2020-02-11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D14139-1793-4C1C-B7EE-C435FC3FA4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4896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11" Type="http://schemas.microsoft.com/office/2007/relationships/hdphoto" Target="../media/hdphoto1.wdp"/><Relationship Id="rId5" Type="http://schemas.openxmlformats.org/officeDocument/2006/relationships/tags" Target="../tags/tag5.xml"/><Relationship Id="rId10" Type="http://schemas.openxmlformats.org/officeDocument/2006/relationships/image" Target="../media/image2.png"/><Relationship Id="rId4" Type="http://schemas.openxmlformats.org/officeDocument/2006/relationships/tags" Target="../tags/tag4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video" Target="../media/media1.mp4"/><Relationship Id="rId11" Type="http://schemas.microsoft.com/office/2007/relationships/hdphoto" Target="../media/hdphoto1.wdp"/><Relationship Id="rId5" Type="http://schemas.microsoft.com/office/2007/relationships/media" Target="../media/media1.mp4"/><Relationship Id="rId10" Type="http://schemas.openxmlformats.org/officeDocument/2006/relationships/image" Target="../media/image2.png"/><Relationship Id="rId4" Type="http://schemas.openxmlformats.org/officeDocument/2006/relationships/tags" Target="../tags/tag8.xml"/><Relationship Id="rId9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video" Target="../media/media2.mp4"/><Relationship Id="rId11" Type="http://schemas.microsoft.com/office/2007/relationships/hdphoto" Target="../media/hdphoto1.wdp"/><Relationship Id="rId5" Type="http://schemas.microsoft.com/office/2007/relationships/media" Target="../media/media2.mp4"/><Relationship Id="rId10" Type="http://schemas.openxmlformats.org/officeDocument/2006/relationships/image" Target="../media/image2.png"/><Relationship Id="rId4" Type="http://schemas.openxmlformats.org/officeDocument/2006/relationships/tags" Target="../tags/tag11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video" Target="../media/media3.mp4"/><Relationship Id="rId11" Type="http://schemas.microsoft.com/office/2007/relationships/hdphoto" Target="../media/hdphoto1.wdp"/><Relationship Id="rId5" Type="http://schemas.microsoft.com/office/2007/relationships/media" Target="../media/media3.mp4"/><Relationship Id="rId10" Type="http://schemas.openxmlformats.org/officeDocument/2006/relationships/image" Target="../media/image2.png"/><Relationship Id="rId4" Type="http://schemas.openxmlformats.org/officeDocument/2006/relationships/tags" Target="../tags/tag14.xml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video" Target="../media/media4.mp4"/><Relationship Id="rId11" Type="http://schemas.microsoft.com/office/2007/relationships/hdphoto" Target="../media/hdphoto1.wdp"/><Relationship Id="rId5" Type="http://schemas.microsoft.com/office/2007/relationships/media" Target="../media/media4.mp4"/><Relationship Id="rId10" Type="http://schemas.openxmlformats.org/officeDocument/2006/relationships/image" Target="../media/image2.png"/><Relationship Id="rId4" Type="http://schemas.openxmlformats.org/officeDocument/2006/relationships/tags" Target="../tags/tag17.xml"/><Relationship Id="rId9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video" Target="../media/media5.mp4"/><Relationship Id="rId11" Type="http://schemas.microsoft.com/office/2007/relationships/hdphoto" Target="../media/hdphoto1.wdp"/><Relationship Id="rId5" Type="http://schemas.microsoft.com/office/2007/relationships/media" Target="../media/media5.mp4"/><Relationship Id="rId10" Type="http://schemas.openxmlformats.org/officeDocument/2006/relationships/image" Target="../media/image2.png"/><Relationship Id="rId4" Type="http://schemas.openxmlformats.org/officeDocument/2006/relationships/tags" Target="../tags/tag20.xml"/><Relationship Id="rId9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2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video" Target="../media/media6.mp4"/><Relationship Id="rId11" Type="http://schemas.microsoft.com/office/2007/relationships/hdphoto" Target="../media/hdphoto1.wdp"/><Relationship Id="rId5" Type="http://schemas.microsoft.com/office/2007/relationships/media" Target="../media/media6.mp4"/><Relationship Id="rId10" Type="http://schemas.openxmlformats.org/officeDocument/2006/relationships/image" Target="../media/image2.png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8.bin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7.xml"/><Relationship Id="rId10" Type="http://schemas.microsoft.com/office/2007/relationships/hdphoto" Target="../media/hdphoto2.wdp"/><Relationship Id="rId4" Type="http://schemas.openxmlformats.org/officeDocument/2006/relationships/tags" Target="../tags/tag26.xm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359579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직사각형 19"/>
          <p:cNvSpPr/>
          <p:nvPr>
            <p:custDataLst>
              <p:tags r:id="rId3"/>
            </p:custDataLst>
          </p:nvPr>
        </p:nvSpPr>
        <p:spPr>
          <a:xfrm>
            <a:off x="0" y="5112568"/>
            <a:ext cx="9144000" cy="1772816"/>
          </a:xfrm>
          <a:prstGeom prst="rect">
            <a:avLst/>
          </a:prstGeom>
          <a:solidFill>
            <a:srgbClr val="FBFA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직사각형 18"/>
          <p:cNvSpPr/>
          <p:nvPr>
            <p:custDataLst>
              <p:tags r:id="rId4"/>
            </p:custDataLst>
          </p:nvPr>
        </p:nvSpPr>
        <p:spPr>
          <a:xfrm>
            <a:off x="0" y="1772816"/>
            <a:ext cx="9144000" cy="1772816"/>
          </a:xfrm>
          <a:prstGeom prst="rect">
            <a:avLst/>
          </a:prstGeom>
          <a:solidFill>
            <a:srgbClr val="EFEB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1772816"/>
          </a:xfrm>
          <a:prstGeom prst="rect">
            <a:avLst/>
          </a:prstGeom>
          <a:solidFill>
            <a:srgbClr val="E6DE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5" name="직선 연결선 24"/>
          <p:cNvCxnSpPr/>
          <p:nvPr/>
        </p:nvCxnSpPr>
        <p:spPr>
          <a:xfrm>
            <a:off x="1112233" y="1609322"/>
            <a:ext cx="6840760" cy="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직사각형 9">
            <a:extLst>
              <a:ext uri="{FF2B5EF4-FFF2-40B4-BE49-F238E27FC236}">
                <a16:creationId xmlns:a16="http://schemas.microsoft.com/office/drawing/2014/main" id="{2D5DBDFB-081A-48C4-A515-A56FACF31010}"/>
              </a:ext>
            </a:extLst>
          </p:cNvPr>
          <p:cNvSpPr/>
          <p:nvPr/>
        </p:nvSpPr>
        <p:spPr>
          <a:xfrm>
            <a:off x="2843808" y="2530236"/>
            <a:ext cx="290335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ko-KR" altLang="en-US" sz="4000" dirty="0" smtClean="0">
                <a:latin typeface="휴먼편지체" pitchFamily="18" charset="-127"/>
                <a:ea typeface="휴먼편지체" pitchFamily="18" charset="-127"/>
              </a:rPr>
              <a:t>하이브리드 앱</a:t>
            </a:r>
            <a:endParaRPr lang="ko-KR" altLang="en-US" sz="4000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2D5DBDFB-081A-48C4-A515-A56FACF31010}"/>
              </a:ext>
            </a:extLst>
          </p:cNvPr>
          <p:cNvSpPr/>
          <p:nvPr/>
        </p:nvSpPr>
        <p:spPr>
          <a:xfrm>
            <a:off x="558733" y="1849095"/>
            <a:ext cx="789831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ko-KR" altLang="en-US" sz="3200" dirty="0" smtClean="0">
                <a:latin typeface="휴먼편지체" pitchFamily="18" charset="-127"/>
                <a:ea typeface="휴먼편지체" pitchFamily="18" charset="-127"/>
              </a:rPr>
              <a:t>소프트웨어 플랫폼 전공 동계 실무역량몰입교육과정</a:t>
            </a:r>
            <a:endParaRPr lang="ko-KR" altLang="en-US" sz="3200" dirty="0">
              <a:latin typeface="휴먼편지체" pitchFamily="18" charset="-127"/>
              <a:ea typeface="휴먼편지체" pitchFamily="18" charset="-127"/>
            </a:endParaRPr>
          </a:p>
        </p:txBody>
      </p:sp>
      <p:cxnSp>
        <p:nvCxnSpPr>
          <p:cNvPr id="16" name="직선 연결선 15"/>
          <p:cNvCxnSpPr/>
          <p:nvPr/>
        </p:nvCxnSpPr>
        <p:spPr>
          <a:xfrm>
            <a:off x="1112233" y="3625546"/>
            <a:ext cx="6840760" cy="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 descr="C:\Users\626-1\Desktop\ksui_2014_12_b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5949280"/>
            <a:ext cx="794201" cy="8500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6B48974-76EC-4B34-A807-4B23F5B9892D}"/>
              </a:ext>
            </a:extLst>
          </p:cNvPr>
          <p:cNvSpPr txBox="1"/>
          <p:nvPr/>
        </p:nvSpPr>
        <p:spPr>
          <a:xfrm>
            <a:off x="6039142" y="5082235"/>
            <a:ext cx="27093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2000" dirty="0" smtClean="0">
                <a:latin typeface="휴먼편지체" pitchFamily="18" charset="-127"/>
                <a:ea typeface="휴먼편지체" pitchFamily="18" charset="-127"/>
              </a:rPr>
              <a:t>소프트웨어학과 </a:t>
            </a:r>
            <a:endParaRPr lang="en-US" altLang="ko-KR" sz="2000" dirty="0" smtClean="0">
              <a:latin typeface="휴먼편지체" pitchFamily="18" charset="-127"/>
              <a:ea typeface="휴먼편지체" pitchFamily="18" charset="-127"/>
            </a:endParaRPr>
          </a:p>
          <a:p>
            <a:pPr algn="r">
              <a:lnSpc>
                <a:spcPct val="150000"/>
              </a:lnSpc>
            </a:pPr>
            <a:r>
              <a:rPr lang="en-US" altLang="ko-KR" sz="2000" dirty="0" smtClean="0">
                <a:latin typeface="휴먼편지체" pitchFamily="18" charset="-127"/>
                <a:ea typeface="휴먼편지체" pitchFamily="18" charset="-127"/>
              </a:rPr>
              <a:t>2018675065</a:t>
            </a:r>
            <a:r>
              <a:rPr lang="en-US" altLang="ko-KR" sz="2000" dirty="0">
                <a:latin typeface="휴먼편지체" pitchFamily="18" charset="-127"/>
                <a:ea typeface="휴먼편지체" pitchFamily="18" charset="-127"/>
              </a:rPr>
              <a:t> </a:t>
            </a:r>
            <a:r>
              <a:rPr lang="en-US" altLang="ko-KR" sz="2000" dirty="0" smtClean="0">
                <a:latin typeface="휴먼편지체" pitchFamily="18" charset="-127"/>
                <a:ea typeface="휴먼편지체" pitchFamily="18" charset="-127"/>
              </a:rPr>
              <a:t> </a:t>
            </a:r>
            <a:r>
              <a:rPr lang="ko-KR" altLang="en-US" sz="2000" dirty="0" err="1" smtClean="0">
                <a:latin typeface="휴먼편지체" pitchFamily="18" charset="-127"/>
                <a:ea typeface="휴먼편지체" pitchFamily="18" charset="-127"/>
              </a:rPr>
              <a:t>조예빈</a:t>
            </a:r>
            <a:endParaRPr lang="ko-KR" altLang="en-US" sz="2000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B48974-76EC-4B34-A807-4B23F5B9892D}"/>
              </a:ext>
            </a:extLst>
          </p:cNvPr>
          <p:cNvSpPr txBox="1"/>
          <p:nvPr/>
        </p:nvSpPr>
        <p:spPr>
          <a:xfrm>
            <a:off x="6012160" y="4544766"/>
            <a:ext cx="2876108" cy="5155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 smtClean="0">
                <a:latin typeface="휴먼편지체" pitchFamily="18" charset="-127"/>
                <a:ea typeface="휴먼편지체" pitchFamily="18" charset="-127"/>
              </a:rPr>
              <a:t>담당 교수님 </a:t>
            </a:r>
            <a:r>
              <a:rPr lang="en-US" altLang="ko-KR" sz="2000" dirty="0" smtClean="0">
                <a:latin typeface="휴먼편지체" pitchFamily="18" charset="-127"/>
                <a:ea typeface="휴먼편지체" pitchFamily="18" charset="-127"/>
              </a:rPr>
              <a:t>: </a:t>
            </a:r>
            <a:r>
              <a:rPr lang="ko-KR" altLang="en-US" sz="2000" dirty="0" smtClean="0">
                <a:latin typeface="휴먼편지체" pitchFamily="18" charset="-127"/>
                <a:ea typeface="휴먼편지체" pitchFamily="18" charset="-127"/>
              </a:rPr>
              <a:t>김주현 교수님</a:t>
            </a:r>
            <a:endParaRPr lang="ko-KR" altLang="en-US" sz="2000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6B48974-76EC-4B34-A807-4B23F5B9892D}"/>
              </a:ext>
            </a:extLst>
          </p:cNvPr>
          <p:cNvSpPr txBox="1"/>
          <p:nvPr/>
        </p:nvSpPr>
        <p:spPr>
          <a:xfrm>
            <a:off x="49121" y="6417403"/>
            <a:ext cx="1063112" cy="3885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편지체" pitchFamily="18" charset="-127"/>
                <a:ea typeface="휴먼편지체" pitchFamily="18" charset="-127"/>
              </a:rPr>
              <a:t>2020-02-11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87072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DE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3487587" y="0"/>
            <a:ext cx="566368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/>
          <p:cNvSpPr txBox="1"/>
          <p:nvPr/>
        </p:nvSpPr>
        <p:spPr>
          <a:xfrm>
            <a:off x="449796" y="2924944"/>
            <a:ext cx="268204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400" dirty="0" smtClean="0">
                <a:latin typeface="나눔바른고딕OTF UltraLight" pitchFamily="50" charset="-127"/>
                <a:ea typeface="나눔바른고딕OTF UltraLight" pitchFamily="50" charset="-127"/>
              </a:rPr>
              <a:t>Contents</a:t>
            </a:r>
            <a:endParaRPr lang="ko-KR" altLang="en-US" sz="4400" dirty="0">
              <a:latin typeface="나눔바른고딕OTF UltraLight" pitchFamily="50" charset="-127"/>
              <a:ea typeface="나눔바른고딕OTF UltraLight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25910" y="2132856"/>
            <a:ext cx="7200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b="1" dirty="0" smtClean="0">
                <a:solidFill>
                  <a:schemeClr val="bg1">
                    <a:lumMod val="95000"/>
                  </a:schemeClr>
                </a:solidFill>
              </a:rPr>
              <a:t>02</a:t>
            </a:r>
            <a:endParaRPr lang="ko-KR" altLang="en-US" sz="3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23928" y="3645024"/>
            <a:ext cx="7200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b="1" dirty="0" smtClean="0">
                <a:solidFill>
                  <a:schemeClr val="bg1">
                    <a:lumMod val="95000"/>
                  </a:schemeClr>
                </a:solidFill>
              </a:rPr>
              <a:t>03</a:t>
            </a:r>
            <a:endParaRPr lang="ko-KR" altLang="en-US" sz="3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24" name="직선 연결선 23"/>
          <p:cNvCxnSpPr/>
          <p:nvPr/>
        </p:nvCxnSpPr>
        <p:spPr>
          <a:xfrm>
            <a:off x="530678" y="3717032"/>
            <a:ext cx="237626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7"/>
          <p:cNvCxnSpPr/>
          <p:nvPr/>
        </p:nvCxnSpPr>
        <p:spPr>
          <a:xfrm>
            <a:off x="512422" y="2996952"/>
            <a:ext cx="237626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날짜 개체 틀 3"/>
          <p:cNvSpPr txBox="1">
            <a:spLocks/>
          </p:cNvSpPr>
          <p:nvPr/>
        </p:nvSpPr>
        <p:spPr>
          <a:xfrm>
            <a:off x="-134787" y="69625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1400" dirty="0" smtClean="0">
                <a:latin typeface="휴먼편지체" pitchFamily="18" charset="-127"/>
                <a:ea typeface="휴먼편지체" pitchFamily="18" charset="-127"/>
              </a:rPr>
              <a:t>소프트웨어 플랫폼 전공 동계 실무역량몰입교육과정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3" name="날짜 개체 틀 3"/>
          <p:cNvSpPr txBox="1">
            <a:spLocks/>
          </p:cNvSpPr>
          <p:nvPr/>
        </p:nvSpPr>
        <p:spPr>
          <a:xfrm>
            <a:off x="5558138" y="72009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dirty="0" smtClean="0">
                <a:latin typeface="휴먼편지체" pitchFamily="18" charset="-127"/>
                <a:ea typeface="휴먼편지체" pitchFamily="18" charset="-127"/>
              </a:rPr>
              <a:t>하이브리드 앱</a:t>
            </a:r>
            <a:endParaRPr lang="ko-KR" altLang="en-US" dirty="0">
              <a:latin typeface="휴먼편지체" pitchFamily="18" charset="-127"/>
              <a:ea typeface="휴먼편지체" pitchFamily="18" charset="-127"/>
            </a:endParaRPr>
          </a:p>
        </p:txBody>
      </p:sp>
      <p:pic>
        <p:nvPicPr>
          <p:cNvPr id="25" name="Picture 2" descr="C:\Users\626-1\Desktop\ksui_2014_12_b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5949280"/>
            <a:ext cx="794201" cy="8500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3CFE014-701E-48E5-BBAF-0DE8B2E6CC30}"/>
              </a:ext>
            </a:extLst>
          </p:cNvPr>
          <p:cNvSpPr txBox="1"/>
          <p:nvPr/>
        </p:nvSpPr>
        <p:spPr>
          <a:xfrm>
            <a:off x="3575454" y="1556792"/>
            <a:ext cx="53911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1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일차</a:t>
            </a:r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	html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을 이용한 홈페이지 만들기</a:t>
            </a:r>
            <a:endParaRPr lang="en-US" altLang="ko-KR" sz="2400" spc="-15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</a:gsLst>
                <a:lin ang="5400000" scaled="1"/>
              </a:gradFill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3CFE014-701E-48E5-BBAF-0DE8B2E6CC30}"/>
              </a:ext>
            </a:extLst>
          </p:cNvPr>
          <p:cNvSpPr txBox="1"/>
          <p:nvPr/>
        </p:nvSpPr>
        <p:spPr>
          <a:xfrm>
            <a:off x="3575454" y="2204864"/>
            <a:ext cx="53911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2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일차</a:t>
            </a:r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	XAMPP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을 이용한 </a:t>
            </a:r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login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화면 만들기</a:t>
            </a:r>
            <a:endParaRPr lang="en-US" altLang="ko-KR" sz="2400" spc="-15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</a:gsLst>
                <a:lin ang="5400000" scaled="1"/>
              </a:gradFill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CFE014-701E-48E5-BBAF-0DE8B2E6CC30}"/>
              </a:ext>
            </a:extLst>
          </p:cNvPr>
          <p:cNvSpPr txBox="1"/>
          <p:nvPr/>
        </p:nvSpPr>
        <p:spPr>
          <a:xfrm>
            <a:off x="3575454" y="2860903"/>
            <a:ext cx="53911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3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일차</a:t>
            </a:r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	</a:t>
            </a:r>
            <a:r>
              <a:rPr lang="en-US" altLang="ko-KR" sz="2400" spc="-150" dirty="0" err="1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wordpress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를 이용한 </a:t>
            </a:r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portfolio 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만들기</a:t>
            </a:r>
            <a:endParaRPr lang="en-US" altLang="ko-KR" sz="2400" spc="-15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</a:gsLst>
                <a:lin ang="5400000" scaled="1"/>
              </a:gradFill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CFE014-701E-48E5-BBAF-0DE8B2E6CC30}"/>
              </a:ext>
            </a:extLst>
          </p:cNvPr>
          <p:cNvSpPr txBox="1"/>
          <p:nvPr/>
        </p:nvSpPr>
        <p:spPr>
          <a:xfrm>
            <a:off x="3575452" y="3501008"/>
            <a:ext cx="53911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4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일차</a:t>
            </a:r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	</a:t>
            </a:r>
            <a:r>
              <a:rPr lang="en-US" altLang="ko-KR" sz="2400" spc="-150" dirty="0" err="1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mportfolio</a:t>
            </a:r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 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만들기</a:t>
            </a:r>
            <a:endParaRPr lang="en-US" altLang="ko-KR" sz="2400" spc="-15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</a:gsLst>
                <a:lin ang="5400000" scaled="1"/>
              </a:gradFill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3CFE014-701E-48E5-BBAF-0DE8B2E6CC30}"/>
              </a:ext>
            </a:extLst>
          </p:cNvPr>
          <p:cNvSpPr txBox="1"/>
          <p:nvPr/>
        </p:nvSpPr>
        <p:spPr>
          <a:xfrm>
            <a:off x="3575452" y="4119463"/>
            <a:ext cx="54261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5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일차</a:t>
            </a:r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	</a:t>
            </a:r>
            <a:r>
              <a:rPr lang="en-US" altLang="ko-KR" sz="2400" spc="-150" dirty="0" err="1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jQuery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를 이용한 </a:t>
            </a:r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APP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만들기</a:t>
            </a:r>
            <a:endParaRPr lang="en-US" altLang="ko-KR" sz="2400" spc="-15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</a:gsLst>
                <a:lin ang="5400000" scaled="1"/>
              </a:gradFill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3CFE014-701E-48E5-BBAF-0DE8B2E6CC30}"/>
              </a:ext>
            </a:extLst>
          </p:cNvPr>
          <p:cNvSpPr txBox="1"/>
          <p:nvPr/>
        </p:nvSpPr>
        <p:spPr>
          <a:xfrm>
            <a:off x="3563888" y="4767535"/>
            <a:ext cx="54261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6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일차</a:t>
            </a:r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	Cordova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를</a:t>
            </a:r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 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이용한 폰에 </a:t>
            </a:r>
            <a:r>
              <a:rPr lang="en-US" altLang="ko-KR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APP</a:t>
            </a:r>
            <a:r>
              <a:rPr lang="ko-KR" altLang="en-US" sz="2400" spc="-150" dirty="0" smtClean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 심기</a:t>
            </a:r>
            <a:endParaRPr lang="en-US" altLang="ko-KR" sz="2400" spc="-15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</a:gsLst>
                <a:lin ang="5400000" scaled="1"/>
              </a:gradFill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B48974-76EC-4B34-A807-4B23F5B9892D}"/>
              </a:ext>
            </a:extLst>
          </p:cNvPr>
          <p:cNvSpPr txBox="1"/>
          <p:nvPr/>
        </p:nvSpPr>
        <p:spPr>
          <a:xfrm>
            <a:off x="49121" y="6417403"/>
            <a:ext cx="1063112" cy="3885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편지체" pitchFamily="18" charset="-127"/>
                <a:ea typeface="휴먼편지체" pitchFamily="18" charset="-127"/>
              </a:rPr>
              <a:t>2020-02-11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5031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개체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63243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날짜 개체 틀 3"/>
          <p:cNvSpPr txBox="1">
            <a:spLocks/>
          </p:cNvSpPr>
          <p:nvPr/>
        </p:nvSpPr>
        <p:spPr>
          <a:xfrm>
            <a:off x="-134787" y="69625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1400" dirty="0" smtClean="0">
                <a:latin typeface="휴먼편지체" pitchFamily="18" charset="-127"/>
                <a:ea typeface="휴먼편지체" pitchFamily="18" charset="-127"/>
              </a:rPr>
              <a:t>소프트웨어 플랫폼 전공 동계 실무역량몰입교육과정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2" name="날짜 개체 틀 3"/>
          <p:cNvSpPr txBox="1">
            <a:spLocks/>
          </p:cNvSpPr>
          <p:nvPr/>
        </p:nvSpPr>
        <p:spPr>
          <a:xfrm>
            <a:off x="5558138" y="72009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dirty="0" smtClean="0">
                <a:latin typeface="휴먼편지체" pitchFamily="18" charset="-127"/>
                <a:ea typeface="휴먼편지체" pitchFamily="18" charset="-127"/>
              </a:rPr>
              <a:t>하이브리드 앱</a:t>
            </a:r>
            <a:endParaRPr lang="ko-KR" altLang="en-US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5" name="직사각형 24"/>
          <p:cNvSpPr/>
          <p:nvPr>
            <p:custDataLst>
              <p:tags r:id="rId3"/>
            </p:custDataLst>
          </p:nvPr>
        </p:nvSpPr>
        <p:spPr>
          <a:xfrm>
            <a:off x="0" y="310344"/>
            <a:ext cx="9144000" cy="886408"/>
          </a:xfrm>
          <a:prstGeom prst="rect">
            <a:avLst/>
          </a:prstGeom>
          <a:solidFill>
            <a:srgbClr val="E6DE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4"/>
            </p:custDataLst>
          </p:nvPr>
        </p:nvSpPr>
        <p:spPr>
          <a:xfrm>
            <a:off x="330729" y="421794"/>
            <a:ext cx="68335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html</a:t>
            </a:r>
            <a:r>
              <a:rPr lang="ko-KR" altLang="en-US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을 이용한 홈페이지 만들기</a:t>
            </a:r>
            <a:endParaRPr lang="en-US" altLang="ko-KR" sz="3600" spc="-15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</a:gsLst>
                <a:lin ang="5400000" scaled="1"/>
              </a:gradFill>
              <a:latin typeface="휴먼편지체" pitchFamily="18" charset="-127"/>
              <a:ea typeface="휴먼편지체" pitchFamily="18" charset="-127"/>
            </a:endParaRPr>
          </a:p>
        </p:txBody>
      </p:sp>
      <p:pic>
        <p:nvPicPr>
          <p:cNvPr id="30" name="Picture 2" descr="C:\Users\626-1\Desktop\ksui_2014_12_b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5949280"/>
            <a:ext cx="794201" cy="8500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html">
            <a:hlinkClick r:id="" action="ppaction://media"/>
          </p:cNvPr>
          <p:cNvPicPr>
            <a:picLocks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507508" y="1435087"/>
            <a:ext cx="6480000" cy="3960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6B48974-76EC-4B34-A807-4B23F5B9892D}"/>
              </a:ext>
            </a:extLst>
          </p:cNvPr>
          <p:cNvSpPr txBox="1"/>
          <p:nvPr/>
        </p:nvSpPr>
        <p:spPr>
          <a:xfrm>
            <a:off x="49121" y="6417403"/>
            <a:ext cx="1063112" cy="3885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편지체" pitchFamily="18" charset="-127"/>
                <a:ea typeface="휴먼편지체" pitchFamily="18" charset="-127"/>
              </a:rPr>
              <a:t>2020-02-11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33246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개체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31824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8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날짜 개체 틀 3"/>
          <p:cNvSpPr txBox="1">
            <a:spLocks/>
          </p:cNvSpPr>
          <p:nvPr/>
        </p:nvSpPr>
        <p:spPr>
          <a:xfrm>
            <a:off x="-134787" y="69625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1400" dirty="0" smtClean="0">
                <a:latin typeface="휴먼편지체" pitchFamily="18" charset="-127"/>
                <a:ea typeface="휴먼편지체" pitchFamily="18" charset="-127"/>
              </a:rPr>
              <a:t>소프트웨어 플랫폼 전공 동계 실무역량몰입교육과정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2" name="날짜 개체 틀 3"/>
          <p:cNvSpPr txBox="1">
            <a:spLocks/>
          </p:cNvSpPr>
          <p:nvPr/>
        </p:nvSpPr>
        <p:spPr>
          <a:xfrm>
            <a:off x="5558138" y="72009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dirty="0" smtClean="0">
                <a:latin typeface="휴먼편지체" pitchFamily="18" charset="-127"/>
                <a:ea typeface="휴먼편지체" pitchFamily="18" charset="-127"/>
              </a:rPr>
              <a:t>하이브리드 앱</a:t>
            </a:r>
            <a:endParaRPr lang="ko-KR" altLang="en-US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5" name="직사각형 24"/>
          <p:cNvSpPr/>
          <p:nvPr>
            <p:custDataLst>
              <p:tags r:id="rId3"/>
            </p:custDataLst>
          </p:nvPr>
        </p:nvSpPr>
        <p:spPr>
          <a:xfrm>
            <a:off x="0" y="310344"/>
            <a:ext cx="9144000" cy="886408"/>
          </a:xfrm>
          <a:prstGeom prst="rect">
            <a:avLst/>
          </a:prstGeom>
          <a:solidFill>
            <a:srgbClr val="E6DE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4"/>
            </p:custDataLst>
          </p:nvPr>
        </p:nvSpPr>
        <p:spPr>
          <a:xfrm>
            <a:off x="330729" y="421794"/>
            <a:ext cx="68335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XAMPP</a:t>
            </a:r>
            <a:r>
              <a:rPr lang="ko-KR" altLang="en-US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을 이용한 </a:t>
            </a:r>
            <a:r>
              <a:rPr lang="en-US" altLang="ko-KR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login</a:t>
            </a:r>
            <a:r>
              <a:rPr lang="ko-KR" altLang="en-US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화면 만들기</a:t>
            </a:r>
            <a:endParaRPr lang="en-US" altLang="ko-KR" sz="3600" spc="-15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</a:gsLst>
                <a:lin ang="5400000" scaled="1"/>
              </a:gradFill>
              <a:latin typeface="휴먼편지체" pitchFamily="18" charset="-127"/>
              <a:ea typeface="휴먼편지체" pitchFamily="18" charset="-127"/>
            </a:endParaRPr>
          </a:p>
        </p:txBody>
      </p:sp>
      <p:pic>
        <p:nvPicPr>
          <p:cNvPr id="30" name="Picture 2" descr="C:\Users\626-1\Desktop\ksui_2014_12_b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5949280"/>
            <a:ext cx="794201" cy="8500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login">
            <a:hlinkClick r:id="" action="ppaction://media"/>
          </p:cNvPr>
          <p:cNvPicPr>
            <a:picLocks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507508" y="1435087"/>
            <a:ext cx="6480000" cy="3960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6B48974-76EC-4B34-A807-4B23F5B9892D}"/>
              </a:ext>
            </a:extLst>
          </p:cNvPr>
          <p:cNvSpPr txBox="1"/>
          <p:nvPr/>
        </p:nvSpPr>
        <p:spPr>
          <a:xfrm>
            <a:off x="49121" y="6417403"/>
            <a:ext cx="1063112" cy="3885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편지체" pitchFamily="18" charset="-127"/>
                <a:ea typeface="휴먼편지체" pitchFamily="18" charset="-127"/>
              </a:rPr>
              <a:t>2020-02-11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55203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개체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31824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날짜 개체 틀 3"/>
          <p:cNvSpPr txBox="1">
            <a:spLocks/>
          </p:cNvSpPr>
          <p:nvPr/>
        </p:nvSpPr>
        <p:spPr>
          <a:xfrm>
            <a:off x="-134787" y="69625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1400" dirty="0" smtClean="0">
                <a:latin typeface="휴먼편지체" pitchFamily="18" charset="-127"/>
                <a:ea typeface="휴먼편지체" pitchFamily="18" charset="-127"/>
              </a:rPr>
              <a:t>소프트웨어 플랫폼 전공 동계 실무역량몰입교육과정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2" name="날짜 개체 틀 3"/>
          <p:cNvSpPr txBox="1">
            <a:spLocks/>
          </p:cNvSpPr>
          <p:nvPr/>
        </p:nvSpPr>
        <p:spPr>
          <a:xfrm>
            <a:off x="5558138" y="72009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dirty="0" smtClean="0">
                <a:latin typeface="휴먼편지체" pitchFamily="18" charset="-127"/>
                <a:ea typeface="휴먼편지체" pitchFamily="18" charset="-127"/>
              </a:rPr>
              <a:t>하이브리드 앱</a:t>
            </a:r>
            <a:endParaRPr lang="ko-KR" altLang="en-US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5" name="직사각형 24"/>
          <p:cNvSpPr/>
          <p:nvPr>
            <p:custDataLst>
              <p:tags r:id="rId3"/>
            </p:custDataLst>
          </p:nvPr>
        </p:nvSpPr>
        <p:spPr>
          <a:xfrm>
            <a:off x="0" y="310344"/>
            <a:ext cx="9144000" cy="886408"/>
          </a:xfrm>
          <a:prstGeom prst="rect">
            <a:avLst/>
          </a:prstGeom>
          <a:solidFill>
            <a:srgbClr val="E6DE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4"/>
            </p:custDataLst>
          </p:nvPr>
        </p:nvSpPr>
        <p:spPr>
          <a:xfrm>
            <a:off x="330729" y="421794"/>
            <a:ext cx="68335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spc="-150" dirty="0" err="1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wordpress</a:t>
            </a:r>
            <a:r>
              <a:rPr lang="ko-KR" altLang="en-US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를 이용한 </a:t>
            </a:r>
            <a:r>
              <a:rPr lang="en-US" altLang="ko-KR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portfolio </a:t>
            </a:r>
            <a:r>
              <a:rPr lang="ko-KR" altLang="en-US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만들기</a:t>
            </a:r>
            <a:endParaRPr lang="en-US" altLang="ko-KR" sz="3600" spc="-15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</a:gsLst>
                <a:lin ang="5400000" scaled="1"/>
              </a:gradFill>
              <a:latin typeface="휴먼편지체" pitchFamily="18" charset="-127"/>
              <a:ea typeface="휴먼편지체" pitchFamily="18" charset="-127"/>
            </a:endParaRPr>
          </a:p>
        </p:txBody>
      </p:sp>
      <p:pic>
        <p:nvPicPr>
          <p:cNvPr id="30" name="Picture 2" descr="C:\Users\626-1\Desktop\ksui_2014_12_b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5949280"/>
            <a:ext cx="794201" cy="8500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ortfolio">
            <a:hlinkClick r:id="" action="ppaction://media"/>
          </p:cNvPr>
          <p:cNvPicPr>
            <a:picLocks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507508" y="1435087"/>
            <a:ext cx="6480000" cy="3960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6B48974-76EC-4B34-A807-4B23F5B9892D}"/>
              </a:ext>
            </a:extLst>
          </p:cNvPr>
          <p:cNvSpPr txBox="1"/>
          <p:nvPr/>
        </p:nvSpPr>
        <p:spPr>
          <a:xfrm>
            <a:off x="49121" y="6417403"/>
            <a:ext cx="1063112" cy="3885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편지체" pitchFamily="18" charset="-127"/>
                <a:ea typeface="휴먼편지체" pitchFamily="18" charset="-127"/>
              </a:rPr>
              <a:t>2020-02-11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55203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개체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31824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날짜 개체 틀 3"/>
          <p:cNvSpPr txBox="1">
            <a:spLocks/>
          </p:cNvSpPr>
          <p:nvPr/>
        </p:nvSpPr>
        <p:spPr>
          <a:xfrm>
            <a:off x="-134787" y="69625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1400" dirty="0" smtClean="0">
                <a:latin typeface="휴먼편지체" pitchFamily="18" charset="-127"/>
                <a:ea typeface="휴먼편지체" pitchFamily="18" charset="-127"/>
              </a:rPr>
              <a:t>소프트웨어 플랫폼 전공 동계 실무역량몰입교육과정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2" name="날짜 개체 틀 3"/>
          <p:cNvSpPr txBox="1">
            <a:spLocks/>
          </p:cNvSpPr>
          <p:nvPr/>
        </p:nvSpPr>
        <p:spPr>
          <a:xfrm>
            <a:off x="5558138" y="72009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dirty="0" smtClean="0">
                <a:latin typeface="휴먼편지체" pitchFamily="18" charset="-127"/>
                <a:ea typeface="휴먼편지체" pitchFamily="18" charset="-127"/>
              </a:rPr>
              <a:t>하이브리드 앱</a:t>
            </a:r>
            <a:endParaRPr lang="ko-KR" altLang="en-US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5" name="직사각형 24"/>
          <p:cNvSpPr/>
          <p:nvPr>
            <p:custDataLst>
              <p:tags r:id="rId3"/>
            </p:custDataLst>
          </p:nvPr>
        </p:nvSpPr>
        <p:spPr>
          <a:xfrm>
            <a:off x="0" y="310344"/>
            <a:ext cx="9144000" cy="886408"/>
          </a:xfrm>
          <a:prstGeom prst="rect">
            <a:avLst/>
          </a:prstGeom>
          <a:solidFill>
            <a:srgbClr val="E6DE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4"/>
            </p:custDataLst>
          </p:nvPr>
        </p:nvSpPr>
        <p:spPr>
          <a:xfrm>
            <a:off x="330729" y="421794"/>
            <a:ext cx="68335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spc="-150" dirty="0" err="1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mportfolio</a:t>
            </a:r>
            <a:r>
              <a:rPr lang="en-US" altLang="ko-KR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 </a:t>
            </a:r>
            <a:r>
              <a:rPr lang="ko-KR" altLang="en-US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만들기</a:t>
            </a:r>
            <a:endParaRPr lang="en-US" altLang="ko-KR" sz="3600" spc="-15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</a:gsLst>
                <a:lin ang="5400000" scaled="1"/>
              </a:gradFill>
              <a:latin typeface="휴먼편지체" pitchFamily="18" charset="-127"/>
              <a:ea typeface="휴먼편지체" pitchFamily="18" charset="-127"/>
            </a:endParaRPr>
          </a:p>
        </p:txBody>
      </p:sp>
      <p:pic>
        <p:nvPicPr>
          <p:cNvPr id="30" name="Picture 2" descr="C:\Users\626-1\Desktop\ksui_2014_12_b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5949280"/>
            <a:ext cx="794201" cy="8500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mportfolio">
            <a:hlinkClick r:id="" action="ppaction://media"/>
          </p:cNvPr>
          <p:cNvPicPr>
            <a:picLocks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1947508" y="1435087"/>
            <a:ext cx="3600000" cy="5040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6B48974-76EC-4B34-A807-4B23F5B9892D}"/>
              </a:ext>
            </a:extLst>
          </p:cNvPr>
          <p:cNvSpPr txBox="1"/>
          <p:nvPr/>
        </p:nvSpPr>
        <p:spPr>
          <a:xfrm>
            <a:off x="49121" y="6417403"/>
            <a:ext cx="1063112" cy="3885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편지체" pitchFamily="18" charset="-127"/>
                <a:ea typeface="휴먼편지체" pitchFamily="18" charset="-127"/>
              </a:rPr>
              <a:t>2020-02-11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55203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개체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5592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7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날짜 개체 틀 3"/>
          <p:cNvSpPr txBox="1">
            <a:spLocks/>
          </p:cNvSpPr>
          <p:nvPr/>
        </p:nvSpPr>
        <p:spPr>
          <a:xfrm>
            <a:off x="-134787" y="69625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1400" dirty="0" smtClean="0">
                <a:latin typeface="휴먼편지체" pitchFamily="18" charset="-127"/>
                <a:ea typeface="휴먼편지체" pitchFamily="18" charset="-127"/>
              </a:rPr>
              <a:t>소프트웨어 플랫폼 전공 동계 실무역량몰입교육과정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2" name="날짜 개체 틀 3"/>
          <p:cNvSpPr txBox="1">
            <a:spLocks/>
          </p:cNvSpPr>
          <p:nvPr/>
        </p:nvSpPr>
        <p:spPr>
          <a:xfrm>
            <a:off x="5558138" y="72009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dirty="0" smtClean="0">
                <a:latin typeface="휴먼편지체" pitchFamily="18" charset="-127"/>
                <a:ea typeface="휴먼편지체" pitchFamily="18" charset="-127"/>
              </a:rPr>
              <a:t>하이브리드 앱</a:t>
            </a:r>
            <a:endParaRPr lang="ko-KR" altLang="en-US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5" name="직사각형 24"/>
          <p:cNvSpPr/>
          <p:nvPr>
            <p:custDataLst>
              <p:tags r:id="rId3"/>
            </p:custDataLst>
          </p:nvPr>
        </p:nvSpPr>
        <p:spPr>
          <a:xfrm>
            <a:off x="0" y="310344"/>
            <a:ext cx="9144000" cy="886408"/>
          </a:xfrm>
          <a:prstGeom prst="rect">
            <a:avLst/>
          </a:prstGeom>
          <a:solidFill>
            <a:srgbClr val="E6DE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4"/>
            </p:custDataLst>
          </p:nvPr>
        </p:nvSpPr>
        <p:spPr>
          <a:xfrm>
            <a:off x="330729" y="421794"/>
            <a:ext cx="68335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spc="-150" dirty="0" err="1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jQuery</a:t>
            </a:r>
            <a:r>
              <a:rPr lang="ko-KR" altLang="en-US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를 이용한 </a:t>
            </a:r>
            <a:r>
              <a:rPr lang="en-US" altLang="ko-KR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APP</a:t>
            </a:r>
            <a:r>
              <a:rPr lang="ko-KR" altLang="en-US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만들기</a:t>
            </a:r>
            <a:endParaRPr lang="en-US" altLang="ko-KR" sz="3600" spc="-15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</a:gsLst>
                <a:lin ang="5400000" scaled="1"/>
              </a:gradFill>
              <a:latin typeface="휴먼편지체" pitchFamily="18" charset="-127"/>
              <a:ea typeface="휴먼편지체" pitchFamily="18" charset="-127"/>
            </a:endParaRPr>
          </a:p>
        </p:txBody>
      </p:sp>
      <p:pic>
        <p:nvPicPr>
          <p:cNvPr id="30" name="Picture 2" descr="C:\Users\626-1\Desktop\ksui_2014_12_b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5949280"/>
            <a:ext cx="794201" cy="8500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corona">
            <a:hlinkClick r:id="" action="ppaction://media"/>
          </p:cNvPr>
          <p:cNvPicPr>
            <a:picLocks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1947508" y="1435087"/>
            <a:ext cx="3600000" cy="5040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6B48974-76EC-4B34-A807-4B23F5B9892D}"/>
              </a:ext>
            </a:extLst>
          </p:cNvPr>
          <p:cNvSpPr txBox="1"/>
          <p:nvPr/>
        </p:nvSpPr>
        <p:spPr>
          <a:xfrm>
            <a:off x="49121" y="6417403"/>
            <a:ext cx="1063112" cy="3885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편지체" pitchFamily="18" charset="-127"/>
                <a:ea typeface="휴먼편지체" pitchFamily="18" charset="-127"/>
              </a:rPr>
              <a:t>2020-02-11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3849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개체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5592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날짜 개체 틀 3"/>
          <p:cNvSpPr txBox="1">
            <a:spLocks/>
          </p:cNvSpPr>
          <p:nvPr/>
        </p:nvSpPr>
        <p:spPr>
          <a:xfrm>
            <a:off x="-134787" y="69625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1400" dirty="0" smtClean="0">
                <a:latin typeface="휴먼편지체" pitchFamily="18" charset="-127"/>
                <a:ea typeface="휴먼편지체" pitchFamily="18" charset="-127"/>
              </a:rPr>
              <a:t>소프트웨어 플랫폼 전공 동계 실무역량몰입교육과정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2" name="날짜 개체 틀 3"/>
          <p:cNvSpPr txBox="1">
            <a:spLocks/>
          </p:cNvSpPr>
          <p:nvPr/>
        </p:nvSpPr>
        <p:spPr>
          <a:xfrm>
            <a:off x="5558138" y="72009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dirty="0" smtClean="0">
                <a:latin typeface="휴먼편지체" pitchFamily="18" charset="-127"/>
                <a:ea typeface="휴먼편지체" pitchFamily="18" charset="-127"/>
              </a:rPr>
              <a:t>하이브리드 앱</a:t>
            </a:r>
            <a:endParaRPr lang="ko-KR" altLang="en-US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25" name="직사각형 24"/>
          <p:cNvSpPr/>
          <p:nvPr>
            <p:custDataLst>
              <p:tags r:id="rId3"/>
            </p:custDataLst>
          </p:nvPr>
        </p:nvSpPr>
        <p:spPr>
          <a:xfrm>
            <a:off x="0" y="310344"/>
            <a:ext cx="9144000" cy="886408"/>
          </a:xfrm>
          <a:prstGeom prst="rect">
            <a:avLst/>
          </a:prstGeom>
          <a:solidFill>
            <a:srgbClr val="E6DE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4"/>
            </p:custDataLst>
          </p:nvPr>
        </p:nvSpPr>
        <p:spPr>
          <a:xfrm>
            <a:off x="330729" y="421794"/>
            <a:ext cx="68335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Cordova</a:t>
            </a:r>
            <a:r>
              <a:rPr lang="ko-KR" altLang="en-US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를</a:t>
            </a:r>
            <a:r>
              <a:rPr lang="en-US" altLang="ko-KR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 </a:t>
            </a:r>
            <a:r>
              <a:rPr lang="ko-KR" altLang="en-US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이용한 폰에 </a:t>
            </a:r>
            <a:r>
              <a:rPr lang="en-US" altLang="ko-KR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APP</a:t>
            </a:r>
            <a:r>
              <a:rPr lang="ko-KR" altLang="en-US" sz="3600" spc="-15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1"/>
                </a:gradFill>
                <a:latin typeface="휴먼편지체" pitchFamily="18" charset="-127"/>
                <a:ea typeface="휴먼편지체" pitchFamily="18" charset="-127"/>
              </a:rPr>
              <a:t> 심기</a:t>
            </a:r>
            <a:endParaRPr lang="en-US" altLang="ko-KR" sz="3600" spc="-15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85000"/>
                      <a:lumOff val="15000"/>
                    </a:schemeClr>
                  </a:gs>
                </a:gsLst>
                <a:lin ang="5400000" scaled="1"/>
              </a:gradFill>
              <a:latin typeface="휴먼편지체" pitchFamily="18" charset="-127"/>
              <a:ea typeface="휴먼편지체" pitchFamily="18" charset="-127"/>
            </a:endParaRPr>
          </a:p>
        </p:txBody>
      </p:sp>
      <p:pic>
        <p:nvPicPr>
          <p:cNvPr id="30" name="Picture 2" descr="C:\Users\626-1\Desktop\ksui_2014_12_b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5949280"/>
            <a:ext cx="794201" cy="8500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corona emulate">
            <a:hlinkClick r:id="" action="ppaction://media"/>
          </p:cNvPr>
          <p:cNvPicPr>
            <a:picLocks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1947508" y="1435087"/>
            <a:ext cx="3600000" cy="5040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6B48974-76EC-4B34-A807-4B23F5B9892D}"/>
              </a:ext>
            </a:extLst>
          </p:cNvPr>
          <p:cNvSpPr txBox="1"/>
          <p:nvPr/>
        </p:nvSpPr>
        <p:spPr>
          <a:xfrm>
            <a:off x="49121" y="6417403"/>
            <a:ext cx="1063112" cy="3885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휴먼편지체" pitchFamily="18" charset="-127"/>
                <a:ea typeface="휴먼편지체" pitchFamily="18" charset="-127"/>
              </a:rPr>
              <a:t>2020-02-11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3849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712054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직사각형 19"/>
          <p:cNvSpPr/>
          <p:nvPr>
            <p:custDataLst>
              <p:tags r:id="rId3"/>
            </p:custDataLst>
          </p:nvPr>
        </p:nvSpPr>
        <p:spPr>
          <a:xfrm>
            <a:off x="0" y="3511399"/>
            <a:ext cx="9144000" cy="1772816"/>
          </a:xfrm>
          <a:prstGeom prst="rect">
            <a:avLst/>
          </a:prstGeom>
          <a:solidFill>
            <a:srgbClr val="FBFA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직사각형 18"/>
          <p:cNvSpPr/>
          <p:nvPr>
            <p:custDataLst>
              <p:tags r:id="rId4"/>
            </p:custDataLst>
          </p:nvPr>
        </p:nvSpPr>
        <p:spPr>
          <a:xfrm>
            <a:off x="0" y="1772816"/>
            <a:ext cx="9144000" cy="1772816"/>
          </a:xfrm>
          <a:prstGeom prst="rect">
            <a:avLst/>
          </a:prstGeom>
          <a:solidFill>
            <a:srgbClr val="EFEB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/>
        </p:nvSpPr>
        <p:spPr>
          <a:xfrm>
            <a:off x="3020101" y="2803575"/>
            <a:ext cx="2739854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4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휴먼편지체" pitchFamily="18" charset="-127"/>
                <a:ea typeface="휴먼편지체" pitchFamily="18" charset="-127"/>
              </a:rPr>
              <a:t>감사합니다</a:t>
            </a:r>
            <a:r>
              <a:rPr lang="en-US" altLang="ko-KR" sz="4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휴먼편지체" pitchFamily="18" charset="-127"/>
                <a:ea typeface="휴먼편지체" pitchFamily="18" charset="-127"/>
              </a:rPr>
              <a:t>.</a:t>
            </a:r>
          </a:p>
        </p:txBody>
      </p:sp>
      <p:sp>
        <p:nvSpPr>
          <p:cNvPr id="15" name="직사각형 14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1772816"/>
          </a:xfrm>
          <a:prstGeom prst="rect">
            <a:avLst/>
          </a:prstGeom>
          <a:solidFill>
            <a:srgbClr val="E6DE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8" name="직선 연결선 7"/>
          <p:cNvCxnSpPr/>
          <p:nvPr/>
        </p:nvCxnSpPr>
        <p:spPr>
          <a:xfrm>
            <a:off x="2349113" y="4365103"/>
            <a:ext cx="4095095" cy="1"/>
          </a:xfrm>
          <a:prstGeom prst="line">
            <a:avLst/>
          </a:prstGeom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연결선 12"/>
          <p:cNvCxnSpPr/>
          <p:nvPr/>
        </p:nvCxnSpPr>
        <p:spPr>
          <a:xfrm>
            <a:off x="2360582" y="2060848"/>
            <a:ext cx="4095095" cy="1"/>
          </a:xfrm>
          <a:prstGeom prst="line">
            <a:avLst/>
          </a:prstGeom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날짜 개체 틀 3"/>
          <p:cNvSpPr txBox="1">
            <a:spLocks/>
          </p:cNvSpPr>
          <p:nvPr/>
        </p:nvSpPr>
        <p:spPr>
          <a:xfrm>
            <a:off x="-134787" y="69625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1400" dirty="0" smtClean="0">
                <a:latin typeface="휴먼편지체" pitchFamily="18" charset="-127"/>
                <a:ea typeface="휴먼편지체" pitchFamily="18" charset="-127"/>
              </a:rPr>
              <a:t>소프트웨어 플랫폼 전공 동계 실무역량몰입교육과정</a:t>
            </a:r>
            <a:endParaRPr lang="ko-KR" altLang="en-US" sz="1400" dirty="0">
              <a:latin typeface="휴먼편지체" pitchFamily="18" charset="-127"/>
              <a:ea typeface="휴먼편지체" pitchFamily="18" charset="-127"/>
            </a:endParaRPr>
          </a:p>
        </p:txBody>
      </p:sp>
      <p:sp>
        <p:nvSpPr>
          <p:cNvPr id="10" name="날짜 개체 틀 3"/>
          <p:cNvSpPr txBox="1">
            <a:spLocks/>
          </p:cNvSpPr>
          <p:nvPr/>
        </p:nvSpPr>
        <p:spPr>
          <a:xfrm>
            <a:off x="5558138" y="72009"/>
            <a:ext cx="3622374" cy="2606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l" defTabSz="914400" rtl="0" eaLnBrk="1" latinLnBrk="1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dirty="0" smtClean="0">
                <a:latin typeface="휴먼편지체" pitchFamily="18" charset="-127"/>
                <a:ea typeface="휴먼편지체" pitchFamily="18" charset="-127"/>
              </a:rPr>
              <a:t>하이브리드 앱</a:t>
            </a:r>
            <a:endParaRPr lang="ko-KR" altLang="en-US" dirty="0">
              <a:latin typeface="휴먼편지체" pitchFamily="18" charset="-127"/>
              <a:ea typeface="휴먼편지체" pitchFamily="18" charset="-127"/>
            </a:endParaRPr>
          </a:p>
        </p:txBody>
      </p:sp>
      <p:pic>
        <p:nvPicPr>
          <p:cNvPr id="11" name="Picture 2" descr="C:\Users\626-1\Desktop\ksui_2014_12_b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5949280"/>
            <a:ext cx="794201" cy="8500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직사각형 15"/>
          <p:cNvSpPr/>
          <p:nvPr/>
        </p:nvSpPr>
        <p:spPr>
          <a:xfrm>
            <a:off x="2339752" y="4653136"/>
            <a:ext cx="421461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휴먼편지체" panose="02030504000101010101" pitchFamily="18" charset="-127"/>
                <a:ea typeface="휴먼편지체" panose="02030504000101010101" pitchFamily="18" charset="-127"/>
              </a:rPr>
              <a:t>Github</a:t>
            </a:r>
            <a:r>
              <a:rPr lang="en-US" altLang="ko-KR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휴먼편지체" pitchFamily="18" charset="-127"/>
                <a:ea typeface="휴먼편지체" pitchFamily="18" charset="-127"/>
              </a:rPr>
              <a:t> : </a:t>
            </a:r>
            <a:r>
              <a:rPr lang="en-US" altLang="ko-KR" sz="2000" dirty="0">
                <a:latin typeface="휴먼편지체" panose="02030504000101010101" pitchFamily="18" charset="-127"/>
                <a:ea typeface="휴먼편지체" panose="02030504000101010101" pitchFamily="18" charset="-127"/>
              </a:rPr>
              <a:t>https://github.com/dpqls519</a:t>
            </a:r>
            <a:endParaRPr lang="en-US" altLang="ko-KR" sz="2000" dirty="0" smtClean="0">
              <a:solidFill>
                <a:schemeClr val="tx1">
                  <a:lumMod val="85000"/>
                  <a:lumOff val="15000"/>
                </a:schemeClr>
              </a:solidFill>
              <a:latin typeface="휴먼편지체" pitchFamily="18" charset="-127"/>
              <a:ea typeface="휴먼편지체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87723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fqchKyrEKL67bO7NPW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zCeys7OkeGuUo5Ap7X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fqchKyrEKL67bO7NPW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zCeys7OkeGuUo5Ap7X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fqchKyrEKL67bO7NPW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zCeys7OkeGuUo5Ap7X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fqchKyrEKL67bO7NPW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zCeys7OkeGuUo5Ap7X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fqchKyrEKL67bO7NPW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zCeys7OkeGuUo5Ap7X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pVXtNpUWXn09ZTdUj6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m.LKO6VEKtNB3igv98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2WeKd1X0ibcvlkDVsl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pVXtNpUWXn09ZTdUj6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m.LKO6VEKtNB3igv98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2WeKd1X0ibcvlkDVsl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fqchKyrEKL67bO7NPW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zCeys7OkeGuUo5Ap7X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8</TotalTime>
  <Words>132</Words>
  <Application>Microsoft Office PowerPoint</Application>
  <PresentationFormat>화면 슬라이드 쇼(4:3)</PresentationFormat>
  <Paragraphs>48</Paragraphs>
  <Slides>9</Slides>
  <Notes>1</Notes>
  <HiddenSlides>0</HiddenSlides>
  <MMClips>6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9</vt:i4>
      </vt:variant>
    </vt:vector>
  </HeadingPairs>
  <TitlesOfParts>
    <vt:vector size="15" baseType="lpstr">
      <vt:lpstr>나눔바른고딕OTF UltraLight</vt:lpstr>
      <vt:lpstr>맑은 고딕</vt:lpstr>
      <vt:lpstr>휴먼편지체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서원</dc:creator>
  <cp:lastModifiedBy>626-2</cp:lastModifiedBy>
  <cp:revision>59</cp:revision>
  <dcterms:created xsi:type="dcterms:W3CDTF">2020-01-14T05:42:09Z</dcterms:created>
  <dcterms:modified xsi:type="dcterms:W3CDTF">2020-02-11T05:53:20Z</dcterms:modified>
</cp:coreProperties>
</file>